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60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1" d="100"/>
          <a:sy n="101" d="100"/>
        </p:scale>
        <p:origin x="1308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FEBC6CA0-BACE-43CD-98DE-2AD11E0DE2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edução dos custos de manutenção e do tempo de parada da máquina</a:t>
            </a:r>
            <a:endParaRPr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Limitador de torque na estrela de descarga</a:t>
            </a:r>
            <a:endParaRPr lang="pt-B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Eficiê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Enchedoras assépticas (FM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SP001</a:t>
            </a:r>
            <a:endParaRPr kumimoji="0" lang="pt-BR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O novo sistema evita a transmissão de torque excessivo e, portanto, reduz o risco de reparações onerosas e de paradas da máquina causadas por sobrecargas. Além disso, limita a energia destrutiva acumulada no sistema de </a:t>
                      </a:r>
                      <a:r>
                        <a:rPr lang="en-US" altLang="de-DE" sz="1200" b="1" noProof="1">
                          <a:solidFill>
                            <a:schemeClr val="accent4"/>
                          </a:solidFill>
                          <a:latin typeface="+mn-lt"/>
                        </a:rPr>
                        <a:t>até 90%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A manutenção do acoplamento se torna desnecessária 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Acoplamentos seguros melhoram a eficiência e produtividade do equipamento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pt-BR" altLang="de-DE" sz="1200" b="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 solução atual, sem limitador de torque, pode exigir reparações onerosas e causar paradas da máquina devido a sobrecarga 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 nova solução integra um novo comando com limitador de torque e um eixo mais comprido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8" t="29141" r="1955" b="10414"/>
          <a:stretch/>
        </p:blipFill>
        <p:spPr bwMode="auto">
          <a:xfrm>
            <a:off x="4901272" y="4246719"/>
            <a:ext cx="3627077" cy="1378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E274AFC5-151D-4032-8F19-7809E6669F83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945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3</Words>
  <Application>Microsoft Office PowerPoint</Application>
  <PresentationFormat>Affichage à l'écran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edução dos custos de manutenção e do tempo de parada da máquin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7</cp:revision>
  <dcterms:created xsi:type="dcterms:W3CDTF">2014-07-21T08:52:21Z</dcterms:created>
  <dcterms:modified xsi:type="dcterms:W3CDTF">2019-08-19T12:0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09:28.8540598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